
<file path=[Content_Types].xml><?xml version="1.0" encoding="utf-8"?>
<Types xmlns="http://schemas.openxmlformats.org/package/2006/content-types"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rts/chart3.xml" ContentType="application/vnd.openxmlformats-officedocument.drawingml.chart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653" r:id="rId2"/>
    <p:sldId id="649" r:id="rId3"/>
    <p:sldId id="655" r:id="rId4"/>
  </p:sldIdLst>
  <p:sldSz cx="8961438" cy="6721475"/>
  <p:notesSz cx="6797675" cy="9928225"/>
  <p:custDataLst>
    <p:tags r:id="rId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rshinDA" initials="P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9836F"/>
    <a:srgbClr val="FBD8D5"/>
    <a:srgbClr val="DAF9CB"/>
    <a:srgbClr val="D5FDC7"/>
    <a:srgbClr val="006600"/>
    <a:srgbClr val="FF5050"/>
    <a:srgbClr val="A90307"/>
    <a:srgbClr val="3333CC"/>
    <a:srgbClr val="FFCC00"/>
    <a:srgbClr val="FFF1E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10" autoAdjust="0"/>
    <p:restoredTop sz="99899" autoAdjust="0"/>
  </p:normalViewPr>
  <p:slideViewPr>
    <p:cSldViewPr>
      <p:cViewPr>
        <p:scale>
          <a:sx n="100" d="100"/>
          <a:sy n="100" d="100"/>
        </p:scale>
        <p:origin x="-2322" y="-432"/>
      </p:cViewPr>
      <p:guideLst>
        <p:guide orient="horz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1" d="100"/>
          <a:sy n="81" d="100"/>
        </p:scale>
        <p:origin x="-4020" y="-102"/>
      </p:cViewPr>
      <p:guideLst>
        <p:guide orient="horz" pos="3128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ME-FS-01\ME_DEP_AT$\common\&#1040;&#1053;&#1040;&#1051;&#1048;&#1058;&#1048;&#1050;&#1040;\&#1052;&#1054;&#1053;&#1054;&#1057;&#1045;&#1058;&#1048;\2014%2003%2028-&#1040;&#1085;&#1072;&#1083;&#1080;&#1090;&#1080;&#1082;&#1072;-&#1084;&#1086;&#1085;&#1086;&#1089;&#1077;&#1090;&#1080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ME-FS-01\ME_DEP_AT$\common\&#1040;&#1053;&#1040;&#1051;&#1048;&#1058;&#1048;&#1050;&#1040;\&#1052;&#1054;&#1053;&#1054;&#1057;&#1045;&#1058;&#1048;\2014%2003%2028-&#1040;&#1085;&#1072;&#1083;&#1080;&#1090;&#1080;&#1082;&#1072;-&#1084;&#1086;&#1085;&#1086;&#1089;&#1077;&#1090;&#1080;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ME-FS-01\ME_DEP_AT$\common\&#1040;&#1053;&#1040;&#1051;&#1048;&#1058;&#1048;&#1050;&#1040;\&#1052;&#1054;&#1053;&#1054;&#1057;&#1045;&#1058;&#1048;\2014%2003%2028-&#1040;&#1085;&#1072;&#1083;&#1080;&#1090;&#1080;&#1082;&#1072;-&#1084;&#1086;&#1085;&#1086;&#1089;&#1077;&#1090;&#1080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otX val="30"/>
      <c:rotY val="170"/>
      <c:perspective val="10"/>
    </c:view3D>
    <c:plotArea>
      <c:layout>
        <c:manualLayout>
          <c:layoutTarget val="inner"/>
          <c:xMode val="edge"/>
          <c:yMode val="edge"/>
          <c:x val="3.4576216434484192E-2"/>
          <c:y val="0"/>
          <c:w val="0.94946900868160711"/>
          <c:h val="1"/>
        </c:manualLayout>
      </c:layout>
      <c:pie3DChart>
        <c:varyColors val="1"/>
        <c:ser>
          <c:idx val="0"/>
          <c:order val="0"/>
          <c:explosion val="25"/>
          <c:dLbls>
            <c:dLbl>
              <c:idx val="0"/>
              <c:layout>
                <c:manualLayout>
                  <c:x val="1.005128205128205E-2"/>
                  <c:y val="0.15156673395986794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Percent val="1"/>
            </c:dLbl>
            <c:dLbl>
              <c:idx val="1"/>
              <c:layout>
                <c:manualLayout>
                  <c:x val="7.9768625075712016E-2"/>
                  <c:y val="-1.716918817264412E-2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Percent val="1"/>
            </c:dLbl>
            <c:showPercent val="1"/>
            <c:showLeaderLines val="1"/>
          </c:dLbls>
          <c:cat>
            <c:strRef>
              <c:f>МОНОСЕТИ!$E$122:$E$123</c:f>
              <c:strCache>
                <c:ptCount val="2"/>
                <c:pt idx="0">
                  <c:v>НВВ прочих ТСО</c:v>
                </c:pt>
                <c:pt idx="1">
                  <c:v>НВВ моносетей</c:v>
                </c:pt>
              </c:strCache>
            </c:strRef>
          </c:cat>
          <c:val>
            <c:numRef>
              <c:f>МОНОСЕТИ!$F$122:$F$123</c:f>
              <c:numCache>
                <c:formatCode>#,##0</c:formatCode>
                <c:ptCount val="2"/>
                <c:pt idx="0">
                  <c:v>637322059.79689944</c:v>
                </c:pt>
                <c:pt idx="1">
                  <c:v>8206625.0773553522</c:v>
                </c:pt>
              </c:numCache>
            </c:numRef>
          </c:val>
        </c:ser>
        <c:dLbls/>
      </c:pie3DChart>
    </c:plotArea>
    <c:legend>
      <c:legendPos val="r"/>
      <c:layout>
        <c:manualLayout>
          <c:xMode val="edge"/>
          <c:yMode val="edge"/>
          <c:x val="0"/>
          <c:y val="0.78985237789550244"/>
          <c:w val="0.50091055925701433"/>
          <c:h val="0.20070438017183101"/>
        </c:manualLayout>
      </c:layout>
      <c:txPr>
        <a:bodyPr/>
        <a:lstStyle/>
        <a:p>
          <a:pPr rtl="0">
            <a:defRPr sz="900" b="1"/>
          </a:pPr>
          <a:endParaRPr lang="ru-RU"/>
        </a:p>
      </c:txPr>
    </c:legend>
    <c:plotVisOnly val="1"/>
    <c:dispBlanksAs val="zero"/>
  </c:chart>
  <c:spPr>
    <a:noFill/>
    <a:ln>
      <a:noFill/>
    </a:ln>
  </c:sp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otX val="30"/>
      <c:rotY val="170"/>
      <c:perspective val="10"/>
    </c:view3D>
    <c:plotArea>
      <c:layout>
        <c:manualLayout>
          <c:layoutTarget val="inner"/>
          <c:xMode val="edge"/>
          <c:yMode val="edge"/>
          <c:x val="3.4576216434484192E-2"/>
          <c:y val="0"/>
          <c:w val="0.94946900868160711"/>
          <c:h val="1"/>
        </c:manualLayout>
      </c:layout>
      <c:pie3DChart>
        <c:varyColors val="1"/>
        <c:ser>
          <c:idx val="0"/>
          <c:order val="0"/>
          <c:explosion val="25"/>
          <c:dPt>
            <c:idx val="1"/>
            <c:explosion val="6"/>
          </c:dPt>
          <c:dLbls>
            <c:dLbl>
              <c:idx val="0"/>
              <c:layout>
                <c:manualLayout>
                  <c:x val="9.7230365435090282E-2"/>
                  <c:y val="0.15954393048407231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Percent val="1"/>
            </c:dLbl>
            <c:dLbl>
              <c:idx val="1"/>
              <c:layout>
                <c:manualLayout>
                  <c:x val="7.9768625075712044E-2"/>
                  <c:y val="-1.716918817264412E-2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Percent val="1"/>
            </c:dLbl>
            <c:showPercent val="1"/>
            <c:showLeaderLines val="1"/>
          </c:dLbls>
          <c:cat>
            <c:strRef>
              <c:f>МОНОСЕТИ!$E$126:$E$127</c:f>
              <c:strCache>
                <c:ptCount val="2"/>
                <c:pt idx="0">
                  <c:v>ПО прочих ТСО</c:v>
                </c:pt>
                <c:pt idx="1">
                  <c:v>ПО моносетей</c:v>
                </c:pt>
              </c:strCache>
            </c:strRef>
          </c:cat>
          <c:val>
            <c:numRef>
              <c:f>МОНОСЕТИ!$F$126:$F$127</c:f>
              <c:numCache>
                <c:formatCode>#,##0</c:formatCode>
                <c:ptCount val="2"/>
                <c:pt idx="0">
                  <c:v>489304294.63981467</c:v>
                </c:pt>
                <c:pt idx="1">
                  <c:v>28120992.03194518</c:v>
                </c:pt>
              </c:numCache>
            </c:numRef>
          </c:val>
        </c:ser>
        <c:dLbls/>
      </c:pie3DChart>
    </c:plotArea>
    <c:legend>
      <c:legendPos val="r"/>
      <c:layout>
        <c:manualLayout>
          <c:xMode val="edge"/>
          <c:yMode val="edge"/>
          <c:x val="0"/>
          <c:y val="0.78985237789550244"/>
          <c:w val="0.50091055925701411"/>
          <c:h val="0.20070438017183112"/>
        </c:manualLayout>
      </c:layout>
      <c:txPr>
        <a:bodyPr/>
        <a:lstStyle/>
        <a:p>
          <a:pPr rtl="0">
            <a:defRPr sz="900" b="1"/>
          </a:pPr>
          <a:endParaRPr lang="ru-RU"/>
        </a:p>
      </c:txPr>
    </c:legend>
    <c:plotVisOnly val="1"/>
    <c:dispBlanksAs val="zero"/>
  </c:chart>
  <c:spPr>
    <a:noFill/>
    <a:ln>
      <a:noFill/>
    </a:ln>
  </c:sp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otX val="30"/>
      <c:rotY val="170"/>
      <c:perspective val="10"/>
    </c:view3D>
    <c:plotArea>
      <c:layout>
        <c:manualLayout>
          <c:layoutTarget val="inner"/>
          <c:xMode val="edge"/>
          <c:yMode val="edge"/>
          <c:x val="3.4576216434484192E-2"/>
          <c:y val="0"/>
          <c:w val="0.94946900868160711"/>
          <c:h val="1"/>
        </c:manualLayout>
      </c:layout>
      <c:pie3DChart>
        <c:varyColors val="1"/>
        <c:ser>
          <c:idx val="0"/>
          <c:order val="0"/>
          <c:explosion val="25"/>
          <c:dPt>
            <c:idx val="1"/>
            <c:explosion val="6"/>
          </c:dPt>
          <c:dLbls>
            <c:dLbl>
              <c:idx val="0"/>
              <c:layout>
                <c:manualLayout>
                  <c:x val="0.18953805774278268"/>
                  <c:y val="0.15156673395986794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Percent val="1"/>
            </c:dLbl>
            <c:dLbl>
              <c:idx val="1"/>
              <c:layout>
                <c:manualLayout>
                  <c:x val="7.9768625075712085E-2"/>
                  <c:y val="-1.716918817264412E-2"/>
                </c:manualLayout>
              </c:layout>
              <c:spPr/>
              <c:txPr>
                <a:bodyPr/>
                <a:lstStyle/>
                <a:p>
                  <a:pPr>
                    <a:defRPr b="1"/>
                  </a:pPr>
                  <a:endParaRPr lang="ru-RU"/>
                </a:p>
              </c:txPr>
              <c:showPercent val="1"/>
            </c:dLbl>
            <c:showPercent val="1"/>
            <c:showLeaderLines val="1"/>
          </c:dLbls>
          <c:cat>
            <c:strRef>
              <c:f>МОНОСЕТИ!$E$130:$E$131</c:f>
              <c:strCache>
                <c:ptCount val="2"/>
                <c:pt idx="0">
                  <c:v>ПО монопотребителям</c:v>
                </c:pt>
                <c:pt idx="1">
                  <c:v>ПО прочим</c:v>
                </c:pt>
              </c:strCache>
            </c:strRef>
          </c:cat>
          <c:val>
            <c:numRef>
              <c:f>МОНОСЕТИ!$F$130:$F$131</c:f>
              <c:numCache>
                <c:formatCode>#,##0</c:formatCode>
                <c:ptCount val="2"/>
                <c:pt idx="0">
                  <c:v>25460501.768557899</c:v>
                </c:pt>
                <c:pt idx="1">
                  <c:v>2660490.2633872852</c:v>
                </c:pt>
              </c:numCache>
            </c:numRef>
          </c:val>
        </c:ser>
        <c:dLbls/>
      </c:pie3DChart>
    </c:plotArea>
    <c:legend>
      <c:legendPos val="r"/>
      <c:layout>
        <c:manualLayout>
          <c:xMode val="edge"/>
          <c:yMode val="edge"/>
          <c:x val="0"/>
          <c:y val="0.80580689292159491"/>
          <c:w val="0.59834645669291342"/>
          <c:h val="0.192727183647627"/>
        </c:manualLayout>
      </c:layout>
      <c:txPr>
        <a:bodyPr/>
        <a:lstStyle/>
        <a:p>
          <a:pPr rtl="0">
            <a:defRPr sz="800" b="1"/>
          </a:pPr>
          <a:endParaRPr lang="ru-RU"/>
        </a:p>
      </c:txPr>
    </c:legend>
    <c:plotVisOnly val="1"/>
    <c:dispBlanksAs val="zero"/>
  </c:chart>
  <c:spPr>
    <a:noFill/>
    <a:ln>
      <a:noFill/>
    </a:ln>
  </c:sp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96038735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6125" cy="43703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863" y="5335285"/>
            <a:ext cx="5792787" cy="1237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5838" y="9535503"/>
            <a:ext cx="539750" cy="1851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cs typeface="Arial"/>
              </a:defRPr>
            </a:lvl1pPr>
          </a:lstStyle>
          <a:p>
            <a:pPr>
              <a:defRPr/>
            </a:pPr>
            <a:fld id="{3162B173-36BF-46A2-B0C0-7A434C74B03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47883" y="103585"/>
            <a:ext cx="57708" cy="12311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cs typeface="Arial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62218436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Arial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Arial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Arial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Arial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Arial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7" name="Заметки 2"/>
          <p:cNvSpPr>
            <a:spLocks noGrp="1"/>
          </p:cNvSpPr>
          <p:nvPr>
            <p:ph type="body" idx="1"/>
          </p:nvPr>
        </p:nvSpPr>
        <p:spPr bwMode="auto">
          <a:xfrm>
            <a:off x="550863" y="5335285"/>
            <a:ext cx="5792787" cy="246221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image" Target="../media/image5.png"/><Relationship Id="rId2" Type="http://schemas.openxmlformats.org/officeDocument/2006/relationships/tags" Target="../tags/tag13.xml"/><Relationship Id="rId16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image" Target="../media/image4.emf"/><Relationship Id="rId10" Type="http://schemas.openxmlformats.org/officeDocument/2006/relationships/tags" Target="../tags/tag21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oleObject" Target="../embeddings/oleObject3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3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oleObject" Target="../embeddings/oleObject4.bin"/><Relationship Id="rId10" Type="http://schemas.openxmlformats.org/officeDocument/2006/relationships/tags" Target="../tags/tag32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2.png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oleObject" Target="../embeddings/oleObject5.bin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23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99" name="think-cell Slide" r:id="rId14" imgW="360" imgH="360" progId="">
              <p:embed/>
            </p:oleObj>
          </a:graphicData>
        </a:graphic>
      </p:graphicFrame>
      <p:sp>
        <p:nvSpPr>
          <p:cNvPr id="5" name="Rectangle 119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8961438" cy="672147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>
              <a:cs typeface="Arial"/>
            </a:endParaRPr>
          </a:p>
        </p:txBody>
      </p:sp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640013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cs typeface="Arial"/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cs typeface="Arial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640013" y="498475"/>
            <a:ext cx="2852737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cs typeface="Arial"/>
              </a:rPr>
              <a:t>Last Modified 28.06.2013 12:57 Russian Standard Time</a:t>
            </a:r>
            <a:endParaRPr lang="ru-RU" sz="900" dirty="0" smtClean="0">
              <a:cs typeface="Arial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640013" y="655638"/>
            <a:ext cx="2532062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cs typeface="Arial"/>
              </a:rPr>
              <a:t>Printed 25.06.2013 14:19 Russian Standard Time</a:t>
            </a:r>
            <a:endParaRPr lang="ru-RU" sz="900" dirty="0" smtClean="0">
              <a:cs typeface="Arial"/>
            </a:endParaRPr>
          </a:p>
        </p:txBody>
      </p:sp>
      <p:grpSp>
        <p:nvGrpSpPr>
          <p:cNvPr id="10" name="McK Title Elements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0" y="0"/>
            <a:ext cx="8958263" cy="6723063"/>
            <a:chOff x="0" y="0"/>
            <a:chExt cx="5643" cy="4235"/>
          </a:xfrm>
        </p:grpSpPr>
        <p:sp>
          <p:nvSpPr>
            <p:cNvPr id="11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cs typeface="Arial"/>
                </a:rPr>
                <a:t>Тип документа</a:t>
              </a:r>
            </a:p>
          </p:txBody>
        </p:sp>
        <p:sp>
          <p:nvSpPr>
            <p:cNvPr id="12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dirty="0" smtClean="0">
                  <a:cs typeface="Arial"/>
                </a:rPr>
                <a:t>Дата</a:t>
              </a:r>
            </a:p>
          </p:txBody>
        </p:sp>
        <p:sp>
          <p:nvSpPr>
            <p:cNvPr id="13" name="McK Disclaimer" hidden="1"/>
            <p:cNvSpPr>
              <a:spLocks noChangeArrowheads="1"/>
            </p:cNvSpPr>
            <p:nvPr/>
          </p:nvSpPr>
          <p:spPr bwMode="auto">
            <a:xfrm>
              <a:off x="1663" y="3635"/>
              <a:ext cx="3226" cy="23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800" dirty="0"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04863" eaLnBrk="0" hangingPunct="0">
                <a:defRPr/>
              </a:pPr>
              <a:r>
                <a:rPr lang="ru-RU" sz="800" dirty="0"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4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ru-RU" dirty="0">
                <a:cs typeface="Arial"/>
              </a:endParaRPr>
            </a:p>
          </p:txBody>
        </p:sp>
        <p:sp>
          <p:nvSpPr>
            <p:cNvPr id="15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ru-RU" dirty="0">
                <a:cs typeface="Arial"/>
              </a:endParaRPr>
            </a:p>
          </p:txBody>
        </p:sp>
        <p:sp>
          <p:nvSpPr>
            <p:cNvPr id="16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ru-RU" dirty="0">
                <a:cs typeface="Arial"/>
              </a:endParaRPr>
            </a:p>
          </p:txBody>
        </p:sp>
      </p:grpSp>
      <p:pic>
        <p:nvPicPr>
          <p:cNvPr id="17" name="TitleBottomBarBW" hidden="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doc id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>
              <a:defRPr/>
            </a:pPr>
            <a:endParaRPr lang="ru-RU" sz="800">
              <a:cs typeface="Arial"/>
            </a:endParaRPr>
          </a:p>
        </p:txBody>
      </p:sp>
      <p:sp>
        <p:nvSpPr>
          <p:cNvPr id="19" name="TextBox 2"/>
          <p:cNvSpPr txBox="1"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457700" y="1435100"/>
            <a:ext cx="914400" cy="914400"/>
          </a:xfrm>
          <a:prstGeom prst="rect">
            <a:avLst/>
          </a:prstGeom>
          <a:noFill/>
          <a:ln>
            <a:noFill/>
          </a:ln>
          <a:extLst/>
        </p:spPr>
        <p:txBody>
          <a:bodyPr wrap="none"/>
          <a:lstStyle>
            <a:lvl1pPr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endParaRPr lang="ru-RU" sz="1200" b="1" i="1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0" name="Изображение 14" descr="Лого_белый_прозрачный_фон.png"/>
          <p:cNvPicPr>
            <a:picLocks noChangeAspect="1"/>
          </p:cNvPicPr>
          <p:nvPr userDrawn="1">
            <p:custDataLst>
              <p:tags r:id="rId11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3743325" y="361950"/>
            <a:ext cx="1530350" cy="1212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Изображение 7" descr="Без заголовка копия.png"/>
          <p:cNvPicPr>
            <a:picLocks noChangeAspect="1"/>
          </p:cNvPicPr>
          <p:nvPr userDrawn="1">
            <p:custDataLst>
              <p:tags r:id="rId12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979488" y="1844675"/>
            <a:ext cx="7169150" cy="151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2" name="Straight Connector 14"/>
          <p:cNvCxnSpPr>
            <a:cxnSpLocks/>
          </p:cNvCxnSpPr>
          <p:nvPr userDrawn="1"/>
        </p:nvCxnSpPr>
        <p:spPr>
          <a:xfrm>
            <a:off x="952500" y="4114800"/>
            <a:ext cx="7270750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cxnSp>
        <p:nvCxnSpPr>
          <p:cNvPr id="23" name="Straight Connector 26"/>
          <p:cNvCxnSpPr>
            <a:cxnSpLocks/>
          </p:cNvCxnSpPr>
          <p:nvPr userDrawn="1"/>
        </p:nvCxnSpPr>
        <p:spPr>
          <a:xfrm>
            <a:off x="952500" y="5111750"/>
            <a:ext cx="7270750" cy="0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</p:spPr>
      </p:cxn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139252" y="4394657"/>
            <a:ext cx="6897246" cy="430887"/>
          </a:xfrm>
          <a:prstGeom prst="rect">
            <a:avLst/>
          </a:prstGeom>
        </p:spPr>
        <p:txBody>
          <a:bodyPr/>
          <a:lstStyle>
            <a:lvl1pPr algn="ctr">
              <a:defRPr sz="2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3581991" y="6178282"/>
            <a:ext cx="2011769" cy="169277"/>
          </a:xfrm>
        </p:spPr>
        <p:txBody>
          <a:bodyPr wrap="none"/>
          <a:lstStyle>
            <a:lvl1pPr algn="ctr"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84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580" name="think-cell Slide" r:id="rId13" imgW="360" imgH="360" progId="">
              <p:embed/>
            </p:oleObj>
          </a:graphicData>
        </a:graphic>
      </p:graphicFrame>
      <p:sp>
        <p:nvSpPr>
          <p:cNvPr id="4" name="Rectangle 33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8961438" cy="9794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ru-RU">
              <a:cs typeface="Arial"/>
            </a:endParaRPr>
          </a:p>
        </p:txBody>
      </p:sp>
      <p:pic>
        <p:nvPicPr>
          <p:cNvPr id="5" name="Изображение 7" descr="Безымянный-3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68275" y="114300"/>
            <a:ext cx="94773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doc id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7935119" y="1940719"/>
            <a:ext cx="19129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Last Modified 28.06.2013 12:57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042275" y="4114800"/>
            <a:ext cx="16986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Printed 25.06.2013 14:19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9" name="McK 1. On-page tracke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04925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030288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19063" y="6138863"/>
            <a:ext cx="8375650" cy="449262"/>
            <a:chOff x="75" y="3867"/>
            <a:chExt cx="5276" cy="283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867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ru-RU" sz="1000" dirty="0"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cs typeface="Arial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graphicFrame>
        <p:nvGraphicFramePr>
          <p:cNvPr id="17" name="Object 535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581" name="think-cell Slide" r:id="rId15" imgW="360" imgH="360" progId="">
              <p:embed/>
            </p:oleObj>
          </a:graphicData>
        </a:graphic>
      </p:graphicFrame>
      <p:sp>
        <p:nvSpPr>
          <p:cNvPr id="18" name="Slide Number"/>
          <p:cNvSpPr txBox="1">
            <a:spLocks/>
          </p:cNvSpPr>
          <p:nvPr userDrawn="1">
            <p:custDataLst>
              <p:tags r:id="rId11"/>
            </p:custDataLst>
          </p:nvPr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BE8DB116-32CC-48EC-871F-773EEEB4623B}" type="slidenum">
              <a:rPr lang="en-US" smtClean="0">
                <a:cs typeface="Arial"/>
              </a:rPr>
              <a:pPr>
                <a:defRPr/>
              </a:pPr>
              <a:t>‹#›</a:t>
            </a:fld>
            <a:endParaRPr lang="en-US" dirty="0">
              <a:cs typeface="Arial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84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548" name="think-cell Slide" r:id="rId12" imgW="360" imgH="360" progId="">
              <p:embed/>
            </p:oleObj>
          </a:graphicData>
        </a:graphic>
      </p:graphicFrame>
      <p:sp>
        <p:nvSpPr>
          <p:cNvPr id="5" name="Rectangle 333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8961438" cy="9794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ru-RU">
              <a:cs typeface="Arial"/>
            </a:endParaRPr>
          </a:p>
        </p:txBody>
      </p:sp>
      <p:pic>
        <p:nvPicPr>
          <p:cNvPr id="6" name="Изображение 7" descr="Безымянный-3.pn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68275" y="114300"/>
            <a:ext cx="94773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doc id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7935119" y="1940719"/>
            <a:ext cx="19129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Last Modified 28.06.2013 12:57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042275" y="4114800"/>
            <a:ext cx="16986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Printed 25.06.2013 14:19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04925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19063" y="1030288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119063" y="6138863"/>
            <a:ext cx="8375650" cy="449262"/>
            <a:chOff x="75" y="3867"/>
            <a:chExt cx="5276" cy="28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67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ru-RU" sz="1000" dirty="0"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cs typeface="Arial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18" name="Дата 3"/>
          <p:cNvSpPr>
            <a:spLocks noGrp="1"/>
          </p:cNvSpPr>
          <p:nvPr>
            <p:ph type="dt" sz="half" idx="10"/>
          </p:nvPr>
        </p:nvSpPr>
        <p:spPr>
          <a:xfrm>
            <a:off x="447675" y="6229350"/>
            <a:ext cx="2090738" cy="358775"/>
          </a:xfrm>
          <a:prstGeom prst="rect">
            <a:avLst/>
          </a:prstGeom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9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2288" y="6229350"/>
            <a:ext cx="2836862" cy="358775"/>
          </a:xfrm>
          <a:prstGeom prst="rect">
            <a:avLst/>
          </a:prstGeom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3025" y="6229350"/>
            <a:ext cx="2090738" cy="358775"/>
          </a:xfrm>
          <a:prstGeom prst="rect">
            <a:avLst/>
          </a:prstGeom>
        </p:spPr>
        <p:txBody>
          <a:bodyPr vert="horz" wrap="square" lIns="89611" tIns="44806" rIns="89611" bIns="44806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CB5C69D-6352-4D81-ACCA-8F6FEA7A73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5298" y="269171"/>
            <a:ext cx="7808067" cy="369332"/>
          </a:xfrm>
          <a:prstGeom prst="rect">
            <a:avLst/>
          </a:prstGeom>
        </p:spPr>
        <p:txBody>
          <a:bodyPr anchor="ctr"/>
          <a:lstStyle>
            <a:lvl1pPr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8072" y="1568344"/>
            <a:ext cx="8065294" cy="1384995"/>
          </a:xfrm>
          <a:prstGeom prst="rect">
            <a:avLst/>
          </a:prstGeom>
        </p:spPr>
        <p:txBody>
          <a:bodyPr/>
          <a:lstStyle>
            <a:lvl1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2pPr>
            <a:lvl3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3pPr>
            <a:lvl4pPr>
              <a:defRPr lang="en-US" sz="1800" kern="1200" dirty="0" smtClean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4pPr>
            <a:lvl5pPr>
              <a:defRPr lang="en-US" sz="1800" kern="1200" dirty="0">
                <a:solidFill>
                  <a:schemeClr val="tx2">
                    <a:lumMod val="50000"/>
                  </a:schemeClr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214653" y="791994"/>
            <a:ext cx="746786" cy="493325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 sz="1600">
                <a:solidFill>
                  <a:schemeClr val="bg1"/>
                </a:solidFill>
                <a:latin typeface="Franklin Gothic Demi" pitchFamily="34" charset="0"/>
              </a:defRPr>
            </a:lvl1pPr>
          </a:lstStyle>
          <a:p>
            <a:fld id="{E0B9FAB5-D5CB-7649-AB4D-E71835F2DC1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1116077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48072" y="1568345"/>
            <a:ext cx="3957968" cy="164660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55398" y="1568345"/>
            <a:ext cx="3957968" cy="1646605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386581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>
            <a:lvl1pPr>
              <a:defRPr/>
            </a:lvl1pPr>
          </a:lstStyle>
          <a:p>
            <a:pPr>
              <a:defRPr/>
            </a:pPr>
            <a:fld id="{8587ED32-64C8-4FDF-BC79-CCEC1E5781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92654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38664" y="3746721"/>
            <a:ext cx="8065294" cy="369332"/>
          </a:xfrm>
          <a:prstGeom prst="rect">
            <a:avLst/>
          </a:prstGeom>
        </p:spPr>
        <p:txBody>
          <a:bodyPr anchor="ctr"/>
          <a:lstStyle>
            <a:lvl1pPr algn="ctr">
              <a:defRPr lang="en-US" sz="2400" b="1" i="0" kern="1200" dirty="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338664" y="5087725"/>
            <a:ext cx="8065294" cy="16927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1100" kern="1200" dirty="0" smtClean="0">
                <a:solidFill>
                  <a:schemeClr val="bg1"/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2pPr>
            <a:lvl3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3pPr>
            <a:lvl4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4pPr>
            <a:lvl5pPr>
              <a:defRPr lang="en-US" sz="1800" kern="1200" dirty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338664" y="6058665"/>
            <a:ext cx="8065294" cy="138499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lang="en-US" sz="900" kern="1200" dirty="0" smtClean="0">
                <a:solidFill>
                  <a:schemeClr val="bg1"/>
                </a:solidFill>
                <a:latin typeface="Franklin Gothic Book" pitchFamily="34" charset="0"/>
                <a:ea typeface="+mn-ea"/>
                <a:cs typeface="Franklin Gothic Book" pitchFamily="34" charset="0"/>
              </a:defRPr>
            </a:lvl1pPr>
            <a:lvl2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2pPr>
            <a:lvl3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3pPr>
            <a:lvl4pPr>
              <a:defRPr lang="en-US" sz="1800" kern="1200" dirty="0" smtClean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4pPr>
            <a:lvl5pPr>
              <a:defRPr lang="en-US" sz="1800" kern="1200" dirty="0">
                <a:solidFill>
                  <a:schemeClr val="bg1"/>
                </a:solidFill>
                <a:latin typeface="FranklinGothicDemiITC"/>
                <a:ea typeface="+mn-ea"/>
                <a:cs typeface="FranklinGothicDemiITC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03980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84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85" name="think-cell Slide" r:id="rId20" imgW="360" imgH="360" progId="">
              <p:embed/>
            </p:oleObj>
          </a:graphicData>
        </a:graphic>
      </p:graphicFrame>
      <p:sp>
        <p:nvSpPr>
          <p:cNvPr id="22" name="Rectangle 33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0" y="0"/>
            <a:ext cx="8961438" cy="979488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ru-RU">
              <a:cs typeface="Arial"/>
            </a:endParaRPr>
          </a:p>
        </p:txBody>
      </p:sp>
      <p:pic>
        <p:nvPicPr>
          <p:cNvPr id="1029" name="Изображение 7" descr="Безымянный-3.png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68275" y="114300"/>
            <a:ext cx="947738" cy="75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doc id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081963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ru-RU" sz="8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 rot="5400000">
            <a:off x="7935119" y="1940719"/>
            <a:ext cx="19129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Last Modified 28.06.2013 12:57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8042275" y="4114800"/>
            <a:ext cx="16986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Arial"/>
              </a:rPr>
              <a:t>Printed 25.06.2013 14:19 Russian Standard Time</a:t>
            </a:r>
            <a:endParaRPr lang="ru-RU" dirty="0" smtClean="0">
              <a:cs typeface="Arial"/>
            </a:endParaRPr>
          </a:p>
        </p:txBody>
      </p:sp>
      <p:sp>
        <p:nvSpPr>
          <p:cNvPr id="2" name="Rectangle 286"/>
          <p:cNvSpPr>
            <a:spLocks noGrp="1" noChangeArrowheads="1"/>
          </p:cNvSpPr>
          <p:nvPr>
            <p:ph type="body" idx="1"/>
            <p:custDataLst>
              <p:tags r:id="rId14"/>
            </p:custDataLst>
          </p:nvPr>
        </p:nvSpPr>
        <p:spPr bwMode="auto">
          <a:xfrm>
            <a:off x="1452563" y="1951038"/>
            <a:ext cx="4302125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3" name="Title Placeholder 2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1304925" y="328613"/>
            <a:ext cx="743267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304925" y="26988"/>
            <a:ext cx="858838" cy="2159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00" dirty="0">
                <a:solidFill>
                  <a:schemeClr val="bg1"/>
                </a:solidFill>
                <a:latin typeface="+mn-lt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119063" y="1030288"/>
            <a:ext cx="8618537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  <a:cs typeface="Arial"/>
              </a:rPr>
              <a:t>Unit of measure</a:t>
            </a:r>
          </a:p>
        </p:txBody>
      </p:sp>
      <p:grpSp>
        <p:nvGrpSpPr>
          <p:cNvPr id="1037" name="McK Slide Elements" hidden="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119063" y="6138863"/>
            <a:ext cx="8375650" cy="449262"/>
            <a:chOff x="75" y="3867"/>
            <a:chExt cx="5276" cy="28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67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00" dirty="0" smtClean="0">
                  <a:latin typeface="+mn-lt"/>
                  <a:cs typeface="Arial"/>
                </a:rPr>
                <a:t>1 Сноска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276" cy="9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ctr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  <a:defRPr/>
              </a:pPr>
              <a:r>
                <a:rPr lang="ru-RU" sz="1000" dirty="0">
                  <a:latin typeface="+mn-lt"/>
                  <a:cs typeface="Arial"/>
                </a:rPr>
                <a:t>ИСТОЧНИК: источник</a:t>
              </a:r>
            </a:p>
          </p:txBody>
        </p:sp>
      </p:grpSp>
      <p:grpSp>
        <p:nvGrpSpPr>
          <p:cNvPr id="1038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3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b="1" dirty="0">
                  <a:cs typeface="Arial"/>
                </a:rPr>
                <a:t>Title</a:t>
              </a:r>
            </a:p>
            <a:p>
              <a:pPr>
                <a:defRPr/>
              </a:pPr>
              <a:r>
                <a:rPr lang="ru-RU" dirty="0">
                  <a:solidFill>
                    <a:srgbClr val="808080"/>
                  </a:solidFill>
                  <a:cs typeface="Arial"/>
                </a:rPr>
                <a:t>Unit of measure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4" r:id="rId4"/>
    <p:sldLayoutId id="2147483705" r:id="rId5"/>
    <p:sldLayoutId id="2147483707" r:id="rId6"/>
  </p:sldLayoutIdLst>
  <p:hf sldNum="0"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+mj-lt"/>
          <a:ea typeface="+mj-ea"/>
          <a:cs typeface="Arial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Arial" charset="0"/>
          <a:cs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Arial" charset="0"/>
          <a:cs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Arial" charset="0"/>
          <a:cs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bg1"/>
          </a:solidFill>
          <a:latin typeface="Arial" charset="0"/>
          <a:cs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49300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042221"/>
            <a:ext cx="8961438" cy="94598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 smtClean="0"/>
              <a:t>Уточнение положений по «</a:t>
            </a:r>
            <a:r>
              <a:rPr lang="ru-RU" dirty="0" err="1" smtClean="0"/>
              <a:t>моносетям</a:t>
            </a:r>
            <a:r>
              <a:rPr lang="ru-RU" dirty="0" smtClean="0"/>
              <a:t>»</a:t>
            </a:r>
            <a:endParaRPr dirty="0"/>
          </a:p>
        </p:txBody>
      </p:sp>
      <p:sp>
        <p:nvSpPr>
          <p:cNvPr id="9220" name="Подзаголовок 2"/>
          <p:cNvSpPr txBox="1">
            <a:spLocks/>
          </p:cNvSpPr>
          <p:nvPr/>
        </p:nvSpPr>
        <p:spPr bwMode="auto">
          <a:xfrm>
            <a:off x="0" y="6100673"/>
            <a:ext cx="8961438" cy="4636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9611" tIns="44806" rIns="89611" bIns="44806"/>
          <a:lstStyle/>
          <a:p>
            <a:pPr algn="ctr">
              <a:spcBef>
                <a:spcPct val="20000"/>
              </a:spcBef>
              <a:buFont typeface="Arial" pitchFamily="34" charset="0"/>
              <a:buNone/>
            </a:pPr>
            <a:r>
              <a:rPr lang="ru-RU" sz="1000" dirty="0">
                <a:solidFill>
                  <a:srgbClr val="FFFFFF"/>
                </a:solidFill>
                <a:latin typeface="Franklin Gothic Book" pitchFamily="34" charset="0"/>
                <a:ea typeface="Franklin Gothic Book" pitchFamily="34" charset="0"/>
                <a:cs typeface="Franklin Gothic Book" pitchFamily="34" charset="0"/>
              </a:rPr>
              <a:t>Москва  2015 г.</a:t>
            </a:r>
          </a:p>
        </p:txBody>
      </p:sp>
      <p:cxnSp>
        <p:nvCxnSpPr>
          <p:cNvPr id="5" name="Прямая соединительная линия 21"/>
          <p:cNvCxnSpPr>
            <a:cxnSpLocks noChangeShapeType="1"/>
          </p:cNvCxnSpPr>
          <p:nvPr/>
        </p:nvCxnSpPr>
        <p:spPr bwMode="auto">
          <a:xfrm>
            <a:off x="933483" y="5003765"/>
            <a:ext cx="7125588" cy="6224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  <p:cxnSp>
        <p:nvCxnSpPr>
          <p:cNvPr id="6" name="Прямая соединительная линия 24"/>
          <p:cNvCxnSpPr>
            <a:cxnSpLocks noChangeShapeType="1"/>
          </p:cNvCxnSpPr>
          <p:nvPr/>
        </p:nvCxnSpPr>
        <p:spPr bwMode="auto">
          <a:xfrm>
            <a:off x="933483" y="4026661"/>
            <a:ext cx="7125588" cy="6224"/>
          </a:xfrm>
          <a:prstGeom prst="line">
            <a:avLst/>
          </a:prstGeom>
          <a:noFill/>
          <a:ln w="6350">
            <a:solidFill>
              <a:schemeClr val="bg1"/>
            </a:solidFill>
            <a:round/>
            <a:headEnd/>
            <a:tailEnd/>
          </a:ln>
          <a:effectLst>
            <a:outerShdw dist="20000" dir="5400000" rotWithShape="0">
              <a:srgbClr val="808080">
                <a:alpha val="37999"/>
              </a:srgbClr>
            </a:outerShdw>
          </a:effectLst>
          <a:extLst/>
        </p:spPr>
      </p:cxnSp>
      <p:sp>
        <p:nvSpPr>
          <p:cNvPr id="9223" name="TextBox 2"/>
          <p:cNvSpPr txBox="1">
            <a:spLocks noChangeArrowheads="1"/>
          </p:cNvSpPr>
          <p:nvPr/>
        </p:nvSpPr>
        <p:spPr bwMode="auto">
          <a:xfrm>
            <a:off x="4368701" y="1406531"/>
            <a:ext cx="896144" cy="896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89611" tIns="44806" rIns="89611" bIns="44806"/>
          <a:lstStyle/>
          <a:p>
            <a:endParaRPr lang="ru-RU" sz="1200" b="1" i="1" dirty="0">
              <a:solidFill>
                <a:srgbClr val="FFFFFF"/>
              </a:solidFill>
              <a:latin typeface="Franklin Gothic Book" pitchFamily="34" charset="0"/>
              <a:ea typeface="Franklin Gothic Book" pitchFamily="34" charset="0"/>
              <a:cs typeface="Franklin Gothic Book" pitchFamily="34" charset="0"/>
            </a:endParaRPr>
          </a:p>
        </p:txBody>
      </p:sp>
      <p:pic>
        <p:nvPicPr>
          <p:cNvPr id="9224" name="Изображение 14" descr="Лого_белый_прозрачный_фон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68589" y="354745"/>
            <a:ext cx="1499796" cy="1188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225" name="Изображение 15" descr="Без заголовка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89921" y="1807953"/>
            <a:ext cx="7169150" cy="1523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99964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4925" y="328469"/>
            <a:ext cx="7432675" cy="292388"/>
          </a:xfrm>
        </p:spPr>
        <p:txBody>
          <a:bodyPr/>
          <a:lstStyle/>
          <a:p>
            <a:pPr algn="ctr"/>
            <a:r>
              <a:rPr lang="ru-RU" dirty="0" smtClean="0"/>
              <a:t>«</a:t>
            </a:r>
            <a:r>
              <a:rPr lang="ru-RU" dirty="0" err="1" smtClean="0"/>
              <a:t>Моносети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952327" y="3144712"/>
            <a:ext cx="7294403" cy="432049"/>
          </a:xfrm>
          <a:prstGeom prst="roundRect">
            <a:avLst>
              <a:gd name="adj" fmla="val 12509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  <a:effectLst/>
                <a:latin typeface="Times New Roman" pitchFamily="18" charset="0"/>
                <a:cs typeface="Times New Roman" pitchFamily="18" charset="0"/>
              </a:rPr>
              <a:t>По результатам мониторинга, проведенного Минэнерго России:</a:t>
            </a:r>
            <a:endParaRPr lang="ru-RU" sz="1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354668" y="3758183"/>
            <a:ext cx="3910027" cy="970706"/>
          </a:xfrm>
          <a:prstGeom prst="roundRect">
            <a:avLst>
              <a:gd name="adj" fmla="val 12509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Количество «моносетей» в РФ составляет </a:t>
            </a:r>
            <a:r>
              <a:rPr lang="ru-RU" sz="2200" b="1" dirty="0" smtClean="0"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159</a:t>
            </a:r>
            <a:endParaRPr lang="ru-RU" sz="22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4747156" y="3758610"/>
            <a:ext cx="3910027" cy="970279"/>
          </a:xfrm>
          <a:prstGeom prst="roundRect">
            <a:avLst>
              <a:gd name="adj" fmla="val 12509"/>
            </a:avLst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НВВ «моносетей» в РФ составляет порядка </a:t>
            </a:r>
          </a:p>
          <a:p>
            <a:pPr algn="ctr"/>
            <a:r>
              <a:rPr lang="ru-RU" sz="2200" b="1" dirty="0" smtClean="0">
                <a:solidFill>
                  <a:schemeClr val="tx1"/>
                </a:solidFill>
                <a:effectLst/>
                <a:latin typeface="Times New Roman" pitchFamily="18" charset="0"/>
                <a:cs typeface="Times New Roman" pitchFamily="18" charset="0"/>
              </a:rPr>
              <a:t>8,2 млрд рублей</a:t>
            </a:r>
          </a:p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1,3% от котлового НВВ)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5" name="Диаграмма 3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52708429"/>
              </p:ext>
            </p:extLst>
          </p:nvPr>
        </p:nvGraphicFramePr>
        <p:xfrm>
          <a:off x="376263" y="4958253"/>
          <a:ext cx="2458811" cy="1592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6" name="Диаграмма 3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019953782"/>
              </p:ext>
            </p:extLst>
          </p:nvPr>
        </p:nvGraphicFramePr>
        <p:xfrm>
          <a:off x="3256583" y="5009060"/>
          <a:ext cx="2558142" cy="15920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7" name="Диаграмма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76376182"/>
              </p:ext>
            </p:extLst>
          </p:nvPr>
        </p:nvGraphicFramePr>
        <p:xfrm>
          <a:off x="6136903" y="4967441"/>
          <a:ext cx="2476501" cy="15920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1107208" y="4811930"/>
            <a:ext cx="8819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latin typeface="Times New Roman" pitchFamily="18" charset="0"/>
                <a:cs typeface="Times New Roman" pitchFamily="18" charset="0"/>
              </a:rPr>
              <a:t>НВВ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ТСО</a:t>
            </a:r>
            <a:endParaRPr lang="ru-RU" sz="1200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3569308" y="4811928"/>
            <a:ext cx="177240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лезный отпуск ТСО</a:t>
            </a:r>
            <a:endParaRPr lang="ru-RU" sz="1200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6208911" y="4811930"/>
            <a:ext cx="231723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лезный отпуск «моносетей»</a:t>
            </a:r>
            <a:endParaRPr lang="ru-RU" sz="1200" dirty="0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952326" y="1056481"/>
            <a:ext cx="7294403" cy="648073"/>
          </a:xfrm>
          <a:prstGeom prst="roundRect">
            <a:avLst>
              <a:gd name="adj" fmla="val 12509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 fontScale="92500" lnSpcReduction="10000"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  <a:effectLst/>
                <a:latin typeface="Times New Roman" pitchFamily="18" charset="0"/>
                <a:cs typeface="Times New Roman" pitchFamily="18" charset="0"/>
              </a:rPr>
              <a:t>В соответстви</a:t>
            </a:r>
            <a:r>
              <a:rPr lang="ru-RU" sz="1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 с Постановление Правительства </a:t>
            </a:r>
          </a:p>
          <a:p>
            <a:pPr algn="ctr"/>
            <a:r>
              <a:rPr lang="ru-RU" sz="1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оссийской </a:t>
            </a:r>
            <a:r>
              <a:rPr lang="ru-RU" sz="1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едерации от </a:t>
            </a:r>
            <a:r>
              <a:rPr lang="ru-RU" sz="18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7 марта 2014 г. N </a:t>
            </a:r>
            <a:r>
              <a:rPr lang="ru-RU" sz="18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179</a:t>
            </a:r>
            <a:endParaRPr lang="ru-RU" sz="18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456383" y="1848569"/>
            <a:ext cx="6408712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определены критерии отнесения ТСО к «</a:t>
            </a:r>
            <a:r>
              <a:rPr lang="ru-RU" b="1" dirty="0" err="1">
                <a:latin typeface="Times New Roman" pitchFamily="18" charset="0"/>
                <a:cs typeface="Times New Roman" pitchFamily="18" charset="0"/>
              </a:rPr>
              <a:t>моносети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ctr"/>
            <a:endParaRPr lang="ru-RU" sz="10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b="1" dirty="0" err="1">
                <a:latin typeface="Times New Roman" pitchFamily="18" charset="0"/>
                <a:cs typeface="Times New Roman" pitchFamily="18" charset="0"/>
              </a:rPr>
              <a:t>монопотребители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» оплачивают услуги по передаче электрической энергии по единым (котловым) тарифам + тариф «</a:t>
            </a:r>
            <a:r>
              <a:rPr lang="ru-RU" b="1" dirty="0" err="1">
                <a:latin typeface="Times New Roman" pitchFamily="18" charset="0"/>
                <a:cs typeface="Times New Roman" pitchFamily="18" charset="0"/>
              </a:rPr>
              <a:t>моносети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xmlns="" val="3833055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04925" y="328469"/>
            <a:ext cx="7432675" cy="292388"/>
          </a:xfrm>
        </p:spPr>
        <p:txBody>
          <a:bodyPr/>
          <a:lstStyle/>
          <a:p>
            <a:pPr algn="ctr"/>
            <a:r>
              <a:rPr lang="ru-RU" dirty="0" smtClean="0"/>
              <a:t>Совершенствование положений по «</a:t>
            </a:r>
            <a:r>
              <a:rPr lang="ru-RU" dirty="0" err="1" smtClean="0"/>
              <a:t>моносетям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76569" y="1056482"/>
            <a:ext cx="8443891" cy="720080"/>
          </a:xfrm>
          <a:prstGeom prst="roundRect">
            <a:avLst>
              <a:gd name="adj" fmla="val 12509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effectLst/>
                <a:latin typeface="Times New Roman" pitchFamily="18" charset="0"/>
                <a:cs typeface="Times New Roman" pitchFamily="18" charset="0"/>
              </a:rPr>
              <a:t>В рамках действующих 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в настоящий момент положений по «</a:t>
            </a:r>
            <a:r>
              <a:rPr lang="ru-RU" sz="1400" b="1" dirty="0" err="1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моносетям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» существуют следующие проблемы:</a:t>
            </a:r>
            <a:endParaRPr lang="ru-RU" sz="13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592286" y="2755224"/>
            <a:ext cx="7990127" cy="677521"/>
          </a:xfrm>
          <a:prstGeom prst="roundRect">
            <a:avLst>
              <a:gd name="adj" fmla="val 12509"/>
            </a:avLst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effectLst/>
                <a:latin typeface="Times New Roman" pitchFamily="18" charset="0"/>
                <a:cs typeface="Times New Roman" pitchFamily="18" charset="0"/>
              </a:rPr>
              <a:t>Проект по уточнению положений «моносетей» 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effectLst/>
                <a:latin typeface="Times New Roman" pitchFamily="18" charset="0"/>
                <a:cs typeface="Times New Roman" pitchFamily="18" charset="0"/>
              </a:rPr>
              <a:t>(находится в Минюсте России)</a:t>
            </a:r>
            <a:endParaRPr lang="ru-RU" sz="13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66018" y="3576761"/>
            <a:ext cx="8702748" cy="3024336"/>
          </a:xfrm>
          <a:prstGeom prst="roundRect">
            <a:avLst>
              <a:gd name="adj" fmla="val 10752"/>
            </a:avLst>
          </a:prstGeom>
          <a:solidFill>
            <a:schemeClr val="accent1">
              <a:lumMod val="20000"/>
              <a:lumOff val="80000"/>
            </a:schemeClr>
          </a:solidFill>
          <a:ln>
            <a:prstDash val="sys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indent="-285750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становление порядка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пределения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 применения ГП нерегулируемых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цен на э/э и мощность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«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нопотребителей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marL="285750" indent="-285750">
              <a:buFont typeface="Wingdings" pitchFamily="2" charset="2"/>
              <a:buChar char="Ø"/>
            </a:pPr>
            <a:endParaRPr lang="ru-RU" sz="5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точнение договорной конструкции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рядка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чета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стоимости услуг по передаче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ля «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монопотребителей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»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ru-RU" sz="5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ераспространение 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ритериев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ношении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К, ТСЖ, иных организаций,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уществляющих деятельность в целях оказания потребителям коммунальной услуги по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лектроснабжению</a:t>
            </a:r>
          </a:p>
          <a:p>
            <a:endParaRPr lang="ru-RU" sz="5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точнение порядка расчета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единых (котловых) тарифов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 учетом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трат «моносетей»</a:t>
            </a:r>
            <a:endParaRPr lang="ru-RU" sz="1400" dirty="0"/>
          </a:p>
          <a:p>
            <a:pPr marL="285750" indent="-285750">
              <a:buFont typeface="Wingdings" pitchFamily="2" charset="2"/>
              <a:buChar char="Ø"/>
            </a:pPr>
            <a:endParaRPr lang="ru-RU" sz="5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становление требования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 обязательном соответствии выбранного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4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нопотребителем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14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арианта цены (тарифа)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а услуги по передаче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моносети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» соответствующему варианту выбранного котлового тарифа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endParaRPr lang="ru-RU" sz="5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marL="285750" indent="-285750">
              <a:buFont typeface="Wingdings" pitchFamily="2" charset="2"/>
              <a:buChar char="Ø"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оставление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ава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ЭК вносить изменения в тарифное решение в случае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зменения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наименования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монопотребителя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»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или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моносети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», 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адресов местонахождения </a:t>
            </a:r>
            <a:r>
              <a:rPr lang="ru-RU" sz="1400" dirty="0" err="1">
                <a:latin typeface="Times New Roman" pitchFamily="18" charset="0"/>
                <a:cs typeface="Times New Roman" pitchFamily="18" charset="0"/>
              </a:rPr>
              <a:t>энергопринимающих</a:t>
            </a:r>
            <a:r>
              <a:rPr lang="ru-RU" sz="1400" dirty="0">
                <a:latin typeface="Times New Roman" pitchFamily="18" charset="0"/>
                <a:cs typeface="Times New Roman" pitchFamily="18" charset="0"/>
              </a:rPr>
              <a:t> устройств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 пр.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48271" y="1786806"/>
            <a:ext cx="816779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применение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критериев «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моносети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» при тарифном регулировании</a:t>
            </a:r>
          </a:p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реализация договорной конструкции «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котел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» - «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моносеть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» – «</a:t>
            </a:r>
            <a:r>
              <a:rPr lang="ru-RU" b="1" dirty="0" err="1" smtClean="0">
                <a:latin typeface="Times New Roman" pitchFamily="18" charset="0"/>
                <a:cs typeface="Times New Roman" pitchFamily="18" charset="0"/>
              </a:rPr>
              <a:t>монопотребитель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» порядок 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применения цен (тарифов) для </a:t>
            </a:r>
            <a:r>
              <a:rPr lang="ru-RU" b="1" dirty="0" err="1">
                <a:latin typeface="Times New Roman" pitchFamily="18" charset="0"/>
                <a:cs typeface="Times New Roman" pitchFamily="18" charset="0"/>
              </a:rPr>
              <a:t>монопотребителей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165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17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1.00000000000000000000E+000&quot;&gt;&lt;m_ppcolschidx val=&quot;0&quot;/&gt;&lt;m_rgb r=&quot;dd&quot; g=&quot;dd&quot; b=&quot;dd&quot;/&gt;&lt;/elem&gt;&lt;elem m_fUsage=&quot;9.00000000000000020000E-001&quot;&gt;&lt;m_ppcolschidx val=&quot;0&quot;/&gt;&lt;m_rgb r=&quot;b2&quot; g=&quot;b2&quot; b=&quot;b2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91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l7u6ltAUyWJhH3nOc4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5j7tkWkSUO8GNLtbLy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DC_L.rcESOIZHUiwJpy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pMP7pCvUeVRzVsIveE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_JcgzZtUuVlATJf6XL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VEx33_p0G9UxMnyaEp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LKiD2GSE6GEcYMJhNi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eW2giotEKjF6A0XWp61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IIeRvupEiFvEoy_1MPg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cmXcJ8ME6UlEkbkLnI1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IOg8byOEqXkZAYbJ.D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qGWCWFBU64zV8Im_XEf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7x3BIh80eqtOFyY4yG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PjsLdgIEi0XeDE952w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cmXcJ8ME6UlEkbkLnI1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QqlHgFECJq4C3zZ4L9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fFI_hJsUaW_UFDl8f1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TLzI5G1kSzAlIZrUAK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QqlHgFECJq4C3zZ4L9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l7u6ltAUyWJhH3nOc4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5j7tkWkSUO8GNLtbLy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.5qUBgI0m7xWi_efzs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cmXcJ8ME6UlEkbkLnI1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oQqlHgFECJq4C3zZ4L9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fFI_hJsUaW_UFDl8f1H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TLzI5G1kSzAlIZrUAKa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XW463T50eKaJK4Dri3.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7l7u6ltAUyWJhH3nOc4P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I5j7tkWkSUO8GNLtbLy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fFI_hJsUaW_UFDl8f1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Q9aN4h60SJBccZhc5S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Bou_XfkXkSeTF8uAQ_D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.TLzI5G1kSzAlIZrUAKaQ"/>
</p:tagLst>
</file>

<file path=ppt/theme/theme1.xml><?xml version="1.0" encoding="utf-8"?>
<a:theme xmlns:a="http://schemas.openxmlformats.org/drawingml/2006/main" name="Firm Format - Russian">
  <a:themeElements>
    <a:clrScheme name="GAS123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8D8D8"/>
      </a:accent1>
      <a:accent2>
        <a:srgbClr val="4F81BD"/>
      </a:accent2>
      <a:accent3>
        <a:srgbClr val="366092"/>
      </a:accent3>
      <a:accent4>
        <a:srgbClr val="002960"/>
      </a:accent4>
      <a:accent5>
        <a:srgbClr val="FF6600"/>
      </a:accent5>
      <a:accent6>
        <a:srgbClr val="808080"/>
      </a:accent6>
      <a:hlink>
        <a:srgbClr val="366092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248</TotalTime>
  <Words>293</Words>
  <Application>Microsoft Office PowerPoint</Application>
  <PresentationFormat>Произвольный</PresentationFormat>
  <Paragraphs>39</Paragraphs>
  <Slides>3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</vt:i4>
      </vt:variant>
    </vt:vector>
  </HeadingPairs>
  <TitlesOfParts>
    <vt:vector size="5" baseType="lpstr">
      <vt:lpstr>Firm Format - Russian</vt:lpstr>
      <vt:lpstr>think-cell Slide</vt:lpstr>
      <vt:lpstr>Уточнение положений по «моносетям»</vt:lpstr>
      <vt:lpstr>«Моносети»</vt:lpstr>
      <vt:lpstr>Совершенствование положений по «моносетям»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</dc:title>
  <dc:creator>Nikolay Deev</dc:creator>
  <cp:lastModifiedBy>SnikkarsPN</cp:lastModifiedBy>
  <cp:revision>1779</cp:revision>
  <cp:lastPrinted>2014-10-29T23:54:41Z</cp:lastPrinted>
  <dcterms:created xsi:type="dcterms:W3CDTF">2012-12-12T15:55:35Z</dcterms:created>
  <dcterms:modified xsi:type="dcterms:W3CDTF">2015-04-02T06:3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